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3817" r:id="rId1"/>
  </p:sldMasterIdLst>
  <p:notesMasterIdLst>
    <p:notesMasterId r:id="rId17"/>
  </p:notesMasterIdLst>
  <p:handoutMasterIdLst>
    <p:handoutMasterId r:id="rId18"/>
  </p:handoutMasterIdLst>
  <p:sldIdLst>
    <p:sldId id="2879" r:id="rId2"/>
    <p:sldId id="2852" r:id="rId3"/>
    <p:sldId id="2890" r:id="rId4"/>
    <p:sldId id="2927" r:id="rId5"/>
    <p:sldId id="2929" r:id="rId6"/>
    <p:sldId id="2922" r:id="rId7"/>
    <p:sldId id="2930" r:id="rId8"/>
    <p:sldId id="2931" r:id="rId9"/>
    <p:sldId id="2923" r:id="rId10"/>
    <p:sldId id="2932" r:id="rId11"/>
    <p:sldId id="2933" r:id="rId12"/>
    <p:sldId id="2924" r:id="rId13"/>
    <p:sldId id="2934" r:id="rId14"/>
    <p:sldId id="2935" r:id="rId15"/>
    <p:sldId id="2830" r:id="rId16"/>
  </p:sldIdLst>
  <p:sldSz cx="12192000" cy="6858000"/>
  <p:notesSz cx="6858000" cy="9144000"/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868FB58A-EAD6-4F77-8DD3-55055D897427}">
          <p14:sldIdLst>
            <p14:sldId id="2879"/>
            <p14:sldId id="2852"/>
          </p14:sldIdLst>
        </p14:section>
        <p14:section name="1. Azure AI" id="{3E569B43-519F-4814-8F2C-C2821C5CF2F5}">
          <p14:sldIdLst>
            <p14:sldId id="2890"/>
            <p14:sldId id="2927"/>
            <p14:sldId id="2929"/>
          </p14:sldIdLst>
        </p14:section>
        <p14:section name="2. Custom Vision" id="{2E1296EE-C867-41A7-A68A-915C32E62C77}">
          <p14:sldIdLst>
            <p14:sldId id="2922"/>
            <p14:sldId id="2930"/>
            <p14:sldId id="2931"/>
          </p14:sldIdLst>
        </p14:section>
        <p14:section name="3. Azure Machine Learning" id="{342C17C4-ABDA-4441-BE36-D4FC55AA12E0}">
          <p14:sldIdLst>
            <p14:sldId id="2923"/>
            <p14:sldId id="2932"/>
            <p14:sldId id="2933"/>
          </p14:sldIdLst>
        </p14:section>
        <p14:section name="4. MLOps" id="{A757F2CE-7372-4F4C-A4D5-86DE73722915}">
          <p14:sldIdLst>
            <p14:sldId id="2924"/>
            <p14:sldId id="2934"/>
            <p14:sldId id="2935"/>
            <p14:sldId id="2830"/>
          </p14:sldIdLst>
        </p14:section>
      </p14:sectionLst>
    </p:ext>
    <p:ext uri="{EFAFB233-063F-42B5-8137-9DF3F51BA10A}">
      <p15:sldGuideLst xmlns:p15="http://schemas.microsoft.com/office/powerpoint/2012/main">
        <p15:guide id="5" pos="7680">
          <p15:clr>
            <a:srgbClr val="A4A3A4"/>
          </p15:clr>
        </p15:guide>
        <p15:guide id="6" pos="302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3613" userDrawn="1">
          <p15:clr>
            <a:srgbClr val="A4A3A4"/>
          </p15:clr>
        </p15:guide>
        <p15:guide id="10" pos="11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86" roundtripDataSignature="AMtx7mgoLbMocrTb2ufacOdehP+VW2Z8f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6C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46"/>
    <p:restoredTop sz="97704"/>
  </p:normalViewPr>
  <p:slideViewPr>
    <p:cSldViewPr>
      <p:cViewPr varScale="1">
        <p:scale>
          <a:sx n="115" d="100"/>
          <a:sy n="115" d="100"/>
        </p:scale>
        <p:origin x="84" y="1476"/>
      </p:cViewPr>
      <p:guideLst>
        <p:guide pos="7680"/>
        <p:guide pos="302"/>
        <p:guide orient="horz" pos="2160"/>
        <p:guide pos="3613"/>
        <p:guide pos="111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11" d="100"/>
          <a:sy n="111" d="100"/>
        </p:scale>
        <p:origin x="31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90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86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8C53252-40E2-1140-93DC-273BE6BAB4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272953-6D0F-A44A-B675-2C037E1EA9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107D07-8856-4A49-BD6E-77CB7B939A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C92313-E055-8B43-9EAB-D8805474B351}" type="slidenum">
              <a:rPr lang="de-DE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682E3F-CC2B-2246-AC58-EA0ED7D4531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68DA50-66E2-A841-860C-2C0403C31B02}" type="datetimeFigureOut">
              <a:rPr lang="de-DE" smtClean="0"/>
              <a:t>26.10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9604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620688" y="229394"/>
            <a:ext cx="4032448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20688" y="971600"/>
            <a:ext cx="5631669" cy="316835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>
              <a:defRPr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‹#›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614656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1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66654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15</a:t>
            </a:fld>
            <a:endParaRPr lang="de-DE" sz="100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3548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CC09FE8-D561-0B40-8968-D290712F5E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722900-AD4A-E946-AF0C-16C0890016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424" y="692696"/>
            <a:ext cx="4320480" cy="4680520"/>
          </a:xfrm>
          <a:solidFill>
            <a:schemeClr val="bg1">
              <a:alpha val="80000"/>
            </a:schemeClr>
          </a:solidFill>
        </p:spPr>
        <p:txBody>
          <a:bodyPr lIns="288000" tIns="432000" rIns="288000" bIns="1728000" anchor="ctr"/>
          <a:lstStyle>
            <a:lvl1pPr algn="l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433CFD-A275-9A47-A8FE-B9CD405E37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1424" y="3933056"/>
            <a:ext cx="4320480" cy="936104"/>
          </a:xfrm>
        </p:spPr>
        <p:txBody>
          <a:bodyPr lIns="288000" tIns="0" rIns="288000" bIns="0" anchor="t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x-non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80EB1EB-95F2-3947-8B86-5AA5ADAEAF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4869160"/>
            <a:ext cx="4320480" cy="432048"/>
          </a:xfrm>
        </p:spPr>
        <p:txBody>
          <a:bodyPr lIns="288000" tIns="0" rIns="288000" bIns="0" anchor="ctr"/>
          <a:lstStyle>
            <a:lvl1pPr algn="r">
              <a:defRPr sz="1800"/>
            </a:lvl1pPr>
          </a:lstStyle>
          <a:p>
            <a:pPr lvl="0"/>
            <a:r>
              <a:rPr lang="en-GB"/>
              <a:t>Datum</a:t>
            </a:r>
            <a:endParaRPr lang="x-none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F81AF7F9-AE8F-CD46-8D04-DFF0B6766E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22583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3BBEE-F1B8-CB4B-8696-97B0E48E8A19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8688288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523190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8A41E380-560D-CC4D-8700-72009A34BE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C1CDC5-77E1-9A4D-8FC7-03BE1A1EE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00591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81608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35379E5-4244-E543-8B89-6D477E80D4D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918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1F0E6F-1ABB-5745-A3B6-34D95B3BC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597666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CDDA9F0-D6F7-FB47-80C2-619FA2EAE293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436780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CH" smtClean="0"/>
              <a:t>26.10.2021</a:t>
            </a:fld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8B338F7-3A0C-4449-A4DF-3D662587B527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0220828-13DE-8644-AF1A-9F7A6C320B83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602399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72488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99360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1AE7EA73-2334-614F-A2B8-12CF5B21FA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98411EE-78C7-054C-A83D-5C479315A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172498-B022-8F47-A9AC-B2826A878767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26.10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3310EA-2F0C-CB4D-B77D-947FCC486319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586E03-F020-6C44-9E2B-0AA121DEB480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7439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3952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B9FD496-5020-3A4F-91EC-89ED3101C7C8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479376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47963E0C-543E-F946-B6F1-3D2AA59A1CC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314ECB9-4372-D943-B0A4-A481683C4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2563243-CB61-0649-9217-BC28EF28B936}"/>
              </a:ext>
            </a:extLst>
          </p:cNvPr>
          <p:cNvSpPr>
            <a:spLocks noGrp="1"/>
          </p:cNvSpPr>
          <p:nvPr>
            <p:ph type="dt" sz="half" idx="43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26.10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FF9E98B-7C54-6049-BC2E-166CE865DBCE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920FA7E-FBDE-4F4F-9834-DB00FAD0DC0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4268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739214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393576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7463B457-5EC0-5B44-B218-999D8E854EF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C32E033-7B76-E543-BB76-2FBC5128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A504FF-F37F-684F-BDA9-81663D39D486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26.10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31F0AF-3049-B44C-8D1D-191D7986AA91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E2A518-D59A-224F-AD09-A0A1DC7AE97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70513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6BA68-83C8-C643-A171-92D30179C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6D80E-2C31-5E48-A687-766AF0ABB5D8}" type="datetime1">
              <a:t>26/10/2021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B3AA43-8DCB-6F45-A2A9-DCF28E929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F30141-0113-1548-9CEB-45390E11A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9E14A0-CFFF-A74B-A7AA-EB3F85A84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4877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A99C3A-31E0-E249-86EB-06B515642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3A4D3-F2BC-704E-9E9C-EE76EBE5A2D2}" type="datetime1">
              <a:t>26/10/20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4B6EE5-EE0E-4345-B638-CC7273A8F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341D3-1A4B-A248-BA19-5161434C5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52747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BBE0DDB-1F83-394C-9D31-C38248E1BD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Bil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welche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ine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s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764704"/>
            <a:ext cx="11233248" cy="5328592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  <a:lvl2pPr marL="1800" indent="0">
              <a:buNone/>
              <a:defRPr sz="6000" b="1"/>
            </a:lvl2pPr>
            <a:lvl3pPr>
              <a:defRPr sz="6000" b="1"/>
            </a:lvl3pPr>
            <a:lvl4pPr>
              <a:defRPr sz="6000" b="1"/>
            </a:lvl4pPr>
            <a:lvl5pPr>
              <a:defRPr sz="60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64096930-CA18-AA46-99C9-FCC300DE67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34703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592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163F157E-62D7-E340-B315-F28FB10F0E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4D8F6DF-3754-5B48-AD59-709040C351FF}" type="datetime1">
              <a:t>26/10/2021</a:t>
            </a:fld>
            <a:endParaRPr lang="x-none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831BBA89-C0C3-344F-BD00-5355BC7B57B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D4F5A5F4-1B98-B34C-AC67-EAF4E9A104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830ACCE6-E560-2647-8ED5-637906AAB9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19336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526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540FB1-EF1C-954F-931C-9378E0FDFB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D435406-F75F-A044-8D24-3D13FC10351A}" type="datetime1">
              <a:t>26/10/20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1227D9-19E3-1148-8EE9-D37C97CE2AF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524EC26-8B10-9642-A7A4-A74EBFD5C6F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1608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ADB0BDE1-184F-1D44-A27F-938C317E9C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91449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6B053-D537-504B-8EF0-86398A7A5523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2BC5CEF-26FA-3449-8134-AB81D3B67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23405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050A1-7A25-6B42-8436-64258971CEC3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2024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016AAB4-A689-954C-AB6A-7604B629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9735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BEC49-6F8A-7246-8AD5-3C48A91F5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4ED8D-632B-4746-9073-F68087301B87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56240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53DCAA-9061-214F-ADC6-6CFFC92EC34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67808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237272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44AFCF9-2C49-244E-8AA8-EC8C6733C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0F8A2FEE-C3DB-394A-9CA8-55649DF229A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076ABB73-D7B7-AF40-8658-8AC1B9498C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75760" y="5943523"/>
            <a:ext cx="824400" cy="869853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05FE0E0-0A35-514C-A09E-CEAE5C73F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5960" y="764704"/>
            <a:ext cx="597541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B4A3091-1EEF-E346-868A-0783CEAA7CF1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4F00FF94-4D32-304B-84F4-D3F376801E0E}" type="datetime1">
              <a:rPr lang="de-DE" smtClean="0"/>
              <a:t>26.10.2021</a:t>
            </a:fld>
            <a:endParaRPr lang="x-non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34511-3E5A-C647-AA12-37C0B8CBB084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A266F52-862B-5043-9D26-3369A6B9726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21954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993710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62F2-8E31-5F4F-B5B1-1053BE3C7E03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352C6BDF-4345-524E-AD02-3D8E82B504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23EECD-AB0F-6F44-9A4C-BDFE4E4F0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70980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0EDE-B741-9745-A4ED-12989E76570E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6156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0C2BDE2-3894-9943-A323-540BE67A0B10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6960096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8" name="Picture Placeholder 28">
            <a:extLst>
              <a:ext uri="{FF2B5EF4-FFF2-40B4-BE49-F238E27FC236}">
                <a16:creationId xmlns:a16="http://schemas.microsoft.com/office/drawing/2014/main" id="{7789062B-F58D-D84B-B634-839EB2020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FBC51FCF-C906-E441-955D-B1986EDA8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44455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E616F2-B55E-DF42-AC7E-BDD9ADC38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7583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120549D-4B63-7E45-A5E6-2BCB24971E83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  <a:buClrTx/>
              <a:buFontTx/>
              <a:buNone/>
            </a:pPr>
            <a:endParaRPr lang="en-GB" sz="3600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379595-6034-154C-A939-4562DC1A1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11232000" cy="9361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B81F0-DE74-2F4B-81A6-3DF2139BCB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6" y="2060848"/>
            <a:ext cx="11233248" cy="4104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C75BA-D039-6C41-99D0-D2384F6091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60296" y="6453336"/>
            <a:ext cx="1656184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00FF94-4D32-304B-84F4-D3F376801E0E}" type="datetime1">
              <a:t>26/10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638F2-8897-274E-A764-3B899586C2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376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777E2-FF3E-8E46-A8D9-2A6F6DF1A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453336"/>
            <a:ext cx="43204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BCAC7CC-FC4D-D243-83C0-1F32B00CB84A}"/>
              </a:ext>
            </a:extLst>
          </p:cNvPr>
          <p:cNvSpPr/>
          <p:nvPr userDrawn="1"/>
        </p:nvSpPr>
        <p:spPr>
          <a:xfrm>
            <a:off x="12504864" y="404728"/>
            <a:ext cx="936000" cy="576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7" name="Rechteck 6">
            <a:extLst>
              <a:ext uri="{FF2B5EF4-FFF2-40B4-BE49-F238E27FC236}">
                <a16:creationId xmlns:a16="http://schemas.microsoft.com/office/drawing/2014/main" id="{D4A86B32-C870-F94A-9772-9A4A9394865A}"/>
              </a:ext>
            </a:extLst>
          </p:cNvPr>
          <p:cNvSpPr/>
          <p:nvPr userDrawn="1"/>
        </p:nvSpPr>
        <p:spPr>
          <a:xfrm>
            <a:off x="12504864" y="1052800"/>
            <a:ext cx="936000" cy="576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36702ED2-5F1A-6B47-BADF-CC1D56FBAE69}"/>
              </a:ext>
            </a:extLst>
          </p:cNvPr>
          <p:cNvSpPr txBox="1"/>
          <p:nvPr userDrawn="1"/>
        </p:nvSpPr>
        <p:spPr>
          <a:xfrm>
            <a:off x="12504864" y="44664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Logofarben</a:t>
            </a:r>
          </a:p>
        </p:txBody>
      </p:sp>
      <p:sp>
        <p:nvSpPr>
          <p:cNvPr id="19" name="Textfeld 8">
            <a:extLst>
              <a:ext uri="{FF2B5EF4-FFF2-40B4-BE49-F238E27FC236}">
                <a16:creationId xmlns:a16="http://schemas.microsoft.com/office/drawing/2014/main" id="{2EF0F837-4557-BD48-9963-87F918F6CADB}"/>
              </a:ext>
            </a:extLst>
          </p:cNvPr>
          <p:cNvSpPr txBox="1"/>
          <p:nvPr userDrawn="1"/>
        </p:nvSpPr>
        <p:spPr>
          <a:xfrm>
            <a:off x="12504864" y="3933096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Zusatzfarben</a:t>
            </a:r>
          </a:p>
        </p:txBody>
      </p:sp>
      <p:sp>
        <p:nvSpPr>
          <p:cNvPr id="20" name="Rechteck 9">
            <a:extLst>
              <a:ext uri="{FF2B5EF4-FFF2-40B4-BE49-F238E27FC236}">
                <a16:creationId xmlns:a16="http://schemas.microsoft.com/office/drawing/2014/main" id="{2E06DFE7-13EE-894E-A153-775A0C39B226}"/>
              </a:ext>
            </a:extLst>
          </p:cNvPr>
          <p:cNvSpPr/>
          <p:nvPr userDrawn="1"/>
        </p:nvSpPr>
        <p:spPr>
          <a:xfrm>
            <a:off x="12504864" y="2334363"/>
            <a:ext cx="936000" cy="57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2ECD196D-7A92-4F4E-BC8B-68FD96D5B390}"/>
              </a:ext>
            </a:extLst>
          </p:cNvPr>
          <p:cNvSpPr/>
          <p:nvPr userDrawn="1"/>
        </p:nvSpPr>
        <p:spPr>
          <a:xfrm>
            <a:off x="12504864" y="4293096"/>
            <a:ext cx="936000" cy="576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2" name="Rechteck 11">
            <a:extLst>
              <a:ext uri="{FF2B5EF4-FFF2-40B4-BE49-F238E27FC236}">
                <a16:creationId xmlns:a16="http://schemas.microsoft.com/office/drawing/2014/main" id="{B6655BF8-F33C-5A43-931C-73B98FDB07A0}"/>
              </a:ext>
            </a:extLst>
          </p:cNvPr>
          <p:cNvSpPr/>
          <p:nvPr userDrawn="1"/>
        </p:nvSpPr>
        <p:spPr>
          <a:xfrm>
            <a:off x="12504984" y="4941232"/>
            <a:ext cx="936000" cy="576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3" name="Rechteck 12">
            <a:extLst>
              <a:ext uri="{FF2B5EF4-FFF2-40B4-BE49-F238E27FC236}">
                <a16:creationId xmlns:a16="http://schemas.microsoft.com/office/drawing/2014/main" id="{146BAFC4-4F1E-034C-9C8C-B5B3BC010C90}"/>
              </a:ext>
            </a:extLst>
          </p:cNvPr>
          <p:cNvSpPr/>
          <p:nvPr userDrawn="1"/>
        </p:nvSpPr>
        <p:spPr>
          <a:xfrm>
            <a:off x="12504864" y="5589304"/>
            <a:ext cx="936000" cy="576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4" name="Rechteck 13">
            <a:extLst>
              <a:ext uri="{FF2B5EF4-FFF2-40B4-BE49-F238E27FC236}">
                <a16:creationId xmlns:a16="http://schemas.microsoft.com/office/drawing/2014/main" id="{7AD01FDD-24AB-2941-B828-49356C8FFCDE}"/>
              </a:ext>
            </a:extLst>
          </p:cNvPr>
          <p:cNvSpPr/>
          <p:nvPr userDrawn="1"/>
        </p:nvSpPr>
        <p:spPr>
          <a:xfrm>
            <a:off x="12504864" y="6237376"/>
            <a:ext cx="936000" cy="576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5" name="Textfeld 14">
            <a:extLst>
              <a:ext uri="{FF2B5EF4-FFF2-40B4-BE49-F238E27FC236}">
                <a16:creationId xmlns:a16="http://schemas.microsoft.com/office/drawing/2014/main" id="{420B057F-2255-914E-A7C8-F592B8298382}"/>
              </a:ext>
            </a:extLst>
          </p:cNvPr>
          <p:cNvSpPr txBox="1"/>
          <p:nvPr userDrawn="1"/>
        </p:nvSpPr>
        <p:spPr>
          <a:xfrm>
            <a:off x="12504864" y="1988880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Schriftfarben</a:t>
            </a:r>
          </a:p>
        </p:txBody>
      </p:sp>
      <p:sp>
        <p:nvSpPr>
          <p:cNvPr id="26" name="Rechteck 16">
            <a:extLst>
              <a:ext uri="{FF2B5EF4-FFF2-40B4-BE49-F238E27FC236}">
                <a16:creationId xmlns:a16="http://schemas.microsoft.com/office/drawing/2014/main" id="{DB121EDC-23C2-AD48-B979-9DA7C17EE348}"/>
              </a:ext>
            </a:extLst>
          </p:cNvPr>
          <p:cNvSpPr/>
          <p:nvPr userDrawn="1"/>
        </p:nvSpPr>
        <p:spPr>
          <a:xfrm>
            <a:off x="12504864" y="2997016"/>
            <a:ext cx="936000" cy="57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4133032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46" r:id="rId2"/>
    <p:sldLayoutId id="2147483848" r:id="rId3"/>
    <p:sldLayoutId id="2147483844" r:id="rId4"/>
    <p:sldLayoutId id="2147483833" r:id="rId5"/>
    <p:sldLayoutId id="2147483842" r:id="rId6"/>
    <p:sldLayoutId id="2147483829" r:id="rId7"/>
    <p:sldLayoutId id="2147483831" r:id="rId8"/>
    <p:sldLayoutId id="2147483832" r:id="rId9"/>
    <p:sldLayoutId id="2147483834" r:id="rId10"/>
    <p:sldLayoutId id="2147483835" r:id="rId11"/>
    <p:sldLayoutId id="2147483837" r:id="rId12"/>
    <p:sldLayoutId id="2147483838" r:id="rId13"/>
    <p:sldLayoutId id="2147483839" r:id="rId14"/>
    <p:sldLayoutId id="2147483823" r:id="rId15"/>
    <p:sldLayoutId id="2147483824" r:id="rId16"/>
    <p:sldLayoutId id="2147483843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1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2F4A9C5-1F61-5044-A690-DC7E1B930F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A5963BE4-66EE-F645-B143-45959552BD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itchhiker’s Guide to Azure Machine Learning</a:t>
            </a:r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35C81342-C73D-D649-9446-03CB94EC76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aniel </a:t>
            </a:r>
            <a:r>
              <a:rPr lang="de-DE" dirty="0" err="1"/>
              <a:t>Yu</a:t>
            </a:r>
            <a:r>
              <a:rPr lang="de-DE" dirty="0"/>
              <a:t>, Florian Müller, Thomas Weib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0CCE9DD-179D-1946-A311-533B4E3CBE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x-none" dirty="0"/>
              <a:t>03.11.202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179C1A6-3C79-D345-8BBC-3B06A21E2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146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26/10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10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837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26/10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11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96468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4. </a:t>
            </a:r>
            <a:r>
              <a:rPr lang="en-US" dirty="0" err="1"/>
              <a:t>MLOps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26/10/20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12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A156D29-D4E4-46C8-9E14-CB993018E32B}"/>
              </a:ext>
            </a:extLst>
          </p:cNvPr>
          <p:cNvGrpSpPr/>
          <p:nvPr/>
        </p:nvGrpSpPr>
        <p:grpSpPr>
          <a:xfrm>
            <a:off x="1496992" y="4049482"/>
            <a:ext cx="3822096" cy="1440000"/>
            <a:chOff x="1682514" y="4049482"/>
            <a:chExt cx="3822096" cy="1440000"/>
          </a:xfrm>
        </p:grpSpPr>
        <p:pic>
          <p:nvPicPr>
            <p:cNvPr id="31750" name="Picture 6">
              <a:extLst>
                <a:ext uri="{FF2B5EF4-FFF2-40B4-BE49-F238E27FC236}">
                  <a16:creationId xmlns:a16="http://schemas.microsoft.com/office/drawing/2014/main" id="{9898A062-1248-43B4-A51C-B822071730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2514" y="4049482"/>
              <a:ext cx="13344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1" name="Picture 7">
              <a:extLst>
                <a:ext uri="{FF2B5EF4-FFF2-40B4-BE49-F238E27FC236}">
                  <a16:creationId xmlns:a16="http://schemas.microsoft.com/office/drawing/2014/main" id="{9BA7CCA9-96F0-4692-97B9-422778A7E3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610" y="4049482"/>
              <a:ext cx="144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2" name="Picture 8">
              <a:extLst>
                <a:ext uri="{FF2B5EF4-FFF2-40B4-BE49-F238E27FC236}">
                  <a16:creationId xmlns:a16="http://schemas.microsoft.com/office/drawing/2014/main" id="{4F344DD4-B464-41AF-9767-79E47F6B11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0762" y="440948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716878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rPr lang="en-CH"/>
              <a:t>26/10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/>
              <a:t>13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738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26/10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14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99477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FD6719-8F01-E347-8568-7FEF161C027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solidFill>
            <a:schemeClr val="accent2"/>
          </a:solidFill>
        </p:spPr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4FDA5C-AF95-C643-A1D3-A7A1ABF29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58FE5BE-1237-714B-909E-37D76D7E34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497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B66065-107F-B74B-8E6D-493C1768F6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30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C39641-2452-974C-B9FA-74D005CCD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 anchor="ctr"/>
          <a:lstStyle/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Azure AI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Custom Vision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Web Porta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ustom Vision SDK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Azure </a:t>
            </a:r>
            <a:r>
              <a:rPr lang="de-CH" b="1" dirty="0" err="1">
                <a:solidFill>
                  <a:schemeClr val="accent6"/>
                </a:solidFill>
              </a:rPr>
              <a:t>Machine</a:t>
            </a:r>
            <a:r>
              <a:rPr lang="de-CH" b="1" dirty="0">
                <a:solidFill>
                  <a:schemeClr val="accent6"/>
                </a:solidFill>
              </a:rPr>
              <a:t> Learning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Auto M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Designer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ode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 err="1">
                <a:solidFill>
                  <a:schemeClr val="accent6"/>
                </a:solidFill>
              </a:rPr>
              <a:t>MLOps</a:t>
            </a:r>
            <a:endParaRPr lang="de-CH" b="1" dirty="0">
              <a:solidFill>
                <a:schemeClr val="accent6"/>
              </a:solidFill>
            </a:endParaRP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FC20EE9D-905D-A240-8A74-0C0D7FF70D07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D07345FD-A2A2-4A4D-9843-EB8DAB1A6173}" type="datetime1">
              <a:t>26/10/2021</a:t>
            </a:fld>
            <a:endParaRPr lang="x-none"/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245A6EE9-813A-4B41-9018-554FA55E3A8F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BC7319BA-87F7-244A-9B5E-21BF751332C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2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Agenda</a:t>
            </a:r>
          </a:p>
        </p:txBody>
      </p:sp>
      <p:pic>
        <p:nvPicPr>
          <p:cNvPr id="14" name="Bildplatzhalter 13" descr="Ein Bild, das Stern, Outdoorobjekt, Nachthimmel enthält.&#10;&#10;Automatisch generierte Beschreibung">
            <a:extLst>
              <a:ext uri="{FF2B5EF4-FFF2-40B4-BE49-F238E27FC236}">
                <a16:creationId xmlns:a16="http://schemas.microsoft.com/office/drawing/2014/main" id="{64B22711-B4E9-B441-97D5-2864052BF48D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6"/>
          <a:srcRect l="27956" r="27956"/>
          <a:stretch>
            <a:fillRect/>
          </a:stretch>
        </p:blipFill>
        <p:spPr>
          <a:xfrm>
            <a:off x="0" y="0"/>
            <a:ext cx="5375920" cy="6858000"/>
          </a:xfr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90CBE6E-537A-6B4E-91F6-9E06C0918A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7228" name="Picture 60">
            <a:extLst>
              <a:ext uri="{FF2B5EF4-FFF2-40B4-BE49-F238E27FC236}">
                <a16:creationId xmlns:a16="http://schemas.microsoft.com/office/drawing/2014/main" id="{20D9485A-0B28-46BE-82B5-A90E94404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4281" y="2060848"/>
            <a:ext cx="3078343" cy="410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76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1. Azure AI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26/10/20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7650" name="Picture 2">
            <a:extLst>
              <a:ext uri="{FF2B5EF4-FFF2-40B4-BE49-F238E27FC236}">
                <a16:creationId xmlns:a16="http://schemas.microsoft.com/office/drawing/2014/main" id="{A9144B4F-60DA-497D-A2F2-6509DD14C6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096" y="3877567"/>
            <a:ext cx="3443888" cy="217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747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26/10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4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4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26/10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5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5828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2. Custom Vision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26/10/20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6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8674" name="Picture 2">
            <a:extLst>
              <a:ext uri="{FF2B5EF4-FFF2-40B4-BE49-F238E27FC236}">
                <a16:creationId xmlns:a16="http://schemas.microsoft.com/office/drawing/2014/main" id="{5640D7D1-CD87-4FED-8418-CB4487C0C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040" y="4077071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959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26/10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7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1554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26/10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8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09396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3. Azure Machine Learning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26/10/20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9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30722" name="Picture 2">
            <a:extLst>
              <a:ext uri="{FF2B5EF4-FFF2-40B4-BE49-F238E27FC236}">
                <a16:creationId xmlns:a16="http://schemas.microsoft.com/office/drawing/2014/main" id="{8E64EC5A-91FE-45E1-8809-B6C6A763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840" y="4221088"/>
            <a:ext cx="13344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651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.Y1tEjMGalM_LbpVnd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heme/theme1.xml><?xml version="1.0" encoding="utf-8"?>
<a:theme xmlns:a="http://schemas.openxmlformats.org/drawingml/2006/main" name="Custom Design">
  <a:themeElements>
    <a:clrScheme name="ipt">
      <a:dk1>
        <a:srgbClr val="054166"/>
      </a:dk1>
      <a:lt1>
        <a:srgbClr val="FFFFFF"/>
      </a:lt1>
      <a:dk2>
        <a:srgbClr val="BEBEBE"/>
      </a:dk2>
      <a:lt2>
        <a:srgbClr val="00659D"/>
      </a:lt2>
      <a:accent1>
        <a:srgbClr val="C7004B"/>
      </a:accent1>
      <a:accent2>
        <a:srgbClr val="E61873"/>
      </a:accent2>
      <a:accent3>
        <a:srgbClr val="76C7C9"/>
      </a:accent3>
      <a:accent4>
        <a:srgbClr val="0093D9"/>
      </a:accent4>
      <a:accent5>
        <a:srgbClr val="FBB934"/>
      </a:accent5>
      <a:accent6>
        <a:srgbClr val="940037"/>
      </a:accent6>
      <a:hlink>
        <a:srgbClr val="0093D9"/>
      </a:hlink>
      <a:folHlink>
        <a:srgbClr val="00659D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rnd">
          <a:noFill/>
          <a:round/>
        </a:ln>
      </a:spPr>
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0400" indent="-230400" algn="l">
          <a:spcAft>
            <a:spcPts val="600"/>
          </a:spcAft>
          <a:buClrTx/>
          <a:buFont typeface="Arial" panose="020B0604020202020204" pitchFamily="34" charset="0"/>
          <a:buChar char="•"/>
          <a:defRPr sz="18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230400" indent="-230400" algn="l">
          <a:spcAft>
            <a:spcPts val="600"/>
          </a:spcAft>
          <a:buFont typeface="Arial" panose="020B0604020202020204" pitchFamily="34" charset="0"/>
          <a:buChar char="•"/>
          <a:defRPr sz="180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pt master2020" id="{78EF6D13-1BDC-AD4F-8545-78752AC15177}" vid="{91C07203-34FF-174C-8610-6683D2DF6FBB}"/>
    </a:ext>
  </a:extLst>
</a:theme>
</file>

<file path=ppt/theme/theme2.xml><?xml version="1.0" encoding="utf-8"?>
<a:theme xmlns:a="http://schemas.openxmlformats.org/drawingml/2006/main" name="Office Theme">
  <a:themeElements>
    <a:clrScheme name="ipt">
      <a:dk1>
        <a:srgbClr val="000000"/>
      </a:dk1>
      <a:lt1>
        <a:srgbClr val="FFFFFF"/>
      </a:lt1>
      <a:dk2>
        <a:srgbClr val="EA094B"/>
      </a:dk2>
      <a:lt2>
        <a:srgbClr val="0066A1"/>
      </a:lt2>
      <a:accent1>
        <a:srgbClr val="9A0F36"/>
      </a:accent1>
      <a:accent2>
        <a:srgbClr val="003E60"/>
      </a:accent2>
      <a:accent3>
        <a:srgbClr val="EB6E7B"/>
      </a:accent3>
      <a:accent4>
        <a:srgbClr val="4AACDD"/>
      </a:accent4>
      <a:accent5>
        <a:srgbClr val="E2007A"/>
      </a:accent5>
      <a:accent6>
        <a:srgbClr val="55B066"/>
      </a:accent6>
      <a:hlink>
        <a:srgbClr val="000000"/>
      </a:hlink>
      <a:folHlink>
        <a:srgbClr val="003E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19</TotalTime>
  <Words>664</Words>
  <Application>Microsoft Office PowerPoint</Application>
  <PresentationFormat>Widescreen</PresentationFormat>
  <Paragraphs>87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Custom Design</vt:lpstr>
      <vt:lpstr>think-cell Slide</vt:lpstr>
      <vt:lpstr>Hitchhiker’s Guide to Azure Machine Learning</vt:lpstr>
      <vt:lpstr>Agenda</vt:lpstr>
      <vt:lpstr>1. Azure AI</vt:lpstr>
      <vt:lpstr>Text Inhalt</vt:lpstr>
      <vt:lpstr>Text Inhalt</vt:lpstr>
      <vt:lpstr>2. Custom Vision</vt:lpstr>
      <vt:lpstr>Text Inhalt</vt:lpstr>
      <vt:lpstr>Text Inhalt</vt:lpstr>
      <vt:lpstr>3. Azure Machine Learning</vt:lpstr>
      <vt:lpstr>Text Inhalt</vt:lpstr>
      <vt:lpstr>Text Inhalt</vt:lpstr>
      <vt:lpstr>4. MLOps</vt:lpstr>
      <vt:lpstr>Text Inhalt</vt:lpstr>
      <vt:lpstr>Text Inhal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nge Rede, kurzer Sinn: Titel</dc:title>
  <dc:creator>Monika Spisak</dc:creator>
  <cp:lastModifiedBy>Thomas Weibel</cp:lastModifiedBy>
  <cp:revision>19</cp:revision>
  <dcterms:created xsi:type="dcterms:W3CDTF">2021-08-06T10:54:09Z</dcterms:created>
  <dcterms:modified xsi:type="dcterms:W3CDTF">2021-10-26T19:5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LatestUserAccountName">
    <vt:lpwstr>martina.kaeppeli@ipt.ch</vt:lpwstr>
  </property>
  <property fmtid="{D5CDD505-2E9C-101B-9397-08002B2CF9AE}" pid="3" name="Offisync_UpdateToken">
    <vt:lpwstr>11</vt:lpwstr>
  </property>
  <property fmtid="{D5CDD505-2E9C-101B-9397-08002B2CF9AE}" pid="4" name="Offisync_ProviderInitializationData">
    <vt:lpwstr>https://ipt.jiveon.com</vt:lpwstr>
  </property>
  <property fmtid="{D5CDD505-2E9C-101B-9397-08002B2CF9AE}" pid="5" name="Offisync_ServerID">
    <vt:lpwstr>9a335159-8580-40e2-8df8-4e77e5ab0749</vt:lpwstr>
  </property>
  <property fmtid="{D5CDD505-2E9C-101B-9397-08002B2CF9AE}" pid="6" name="Offisync_UniqueId">
    <vt:lpwstr>2430</vt:lpwstr>
  </property>
  <property fmtid="{D5CDD505-2E9C-101B-9397-08002B2CF9AE}" pid="7" name="Jive_VersionGuid">
    <vt:lpwstr>8370502f-3408-485c-b708-899ffc4a767a</vt:lpwstr>
  </property>
</Properties>
</file>